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725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2872297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">
            <a:extLst>
              <a:ext uri="{FF2B5EF4-FFF2-40B4-BE49-F238E27FC236}">
                <a16:creationId xmlns:a16="http://schemas.microsoft.com/office/drawing/2014/main" id="{108398AB-264B-4F00-A765-25298D7F5BCB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C2E49416-2DE8-4D1B-AE0B-397E831D1426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EF5FA875-E6A5-46BA-BA64-FAF6CF5BFFD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5EE8EE76-8218-4370-82A9-B049E9890DF1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EE359A63-2C51-4631-950C-1748AC6C9D3F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7993063" cy="461665"/>
          </a:xfrm>
        </p:spPr>
        <p:txBody>
          <a:bodyPr/>
          <a:lstStyle/>
          <a:p>
            <a:r>
              <a:rPr lang="fr-FR" dirty="0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447" y="1445710"/>
            <a:ext cx="7997825" cy="307975"/>
          </a:xfrm>
        </p:spPr>
        <p:txBody>
          <a:bodyPr/>
          <a:lstStyle/>
          <a:p>
            <a:r>
              <a:rPr lang="fr-FR" dirty="0"/>
              <a:t>Nouveau CPU sur l'orienteur de préformes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Obsolescence</a:t>
            </a:r>
          </a:p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S</a:t>
            </a:r>
            <a:r>
              <a:rPr lang="fr-FR" sz="800" kern="0" dirty="0" err="1">
                <a:solidFill>
                  <a:srgbClr val="000000"/>
                </a:solidFill>
              </a:rPr>
              <a:t>ouffleuse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ries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OCB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4937" y="2176463"/>
            <a:ext cx="3866263" cy="1751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e solution plus sûre avec un nouveau composant proposé par Sidel</a:t>
            </a:r>
          </a:p>
          <a:p>
            <a:pPr marL="136922" marR="0" lvl="0" indent="-136922" algn="l" defTabSz="914400" rtl="0" eaLnBrk="1" fontAlgn="auto" latinLnBrk="0" hangingPunct="1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évention de longs temps d’arrêt en cas de panne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isque d'indisponibilité imminente des pièces de rechange.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isque de longs arrêts de production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e programme (SW) est maintenant installé sur une carte mémoire amovi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26269" y="2176463"/>
            <a:ext cx="3910143" cy="1041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Nouveaux composants du kit: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CPU 312C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EEPROM 64K amovible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Nouveau programme (SW)</a:t>
            </a:r>
          </a:p>
          <a:p>
            <a:pPr marL="5941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Nouvelle carte PLC d’entré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82E1391-6A13-4005-9FC7-273E9A6EE5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4397" y="4262055"/>
            <a:ext cx="1242754" cy="14255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2AD371B-54F6-4552-84B6-C7B4AEDF3D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9927" y="3869417"/>
            <a:ext cx="1242755" cy="124409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EEF2016-5950-4380-92D5-25C6537574E8}"/>
              </a:ext>
            </a:extLst>
          </p:cNvPr>
          <p:cNvSpPr txBox="1"/>
          <p:nvPr/>
        </p:nvSpPr>
        <p:spPr>
          <a:xfrm>
            <a:off x="2425808" y="399064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BEFO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AF561F-A3BB-41AE-85A0-1E0AAF2E9B76}"/>
              </a:ext>
            </a:extLst>
          </p:cNvPr>
          <p:cNvSpPr txBox="1"/>
          <p:nvPr/>
        </p:nvSpPr>
        <p:spPr>
          <a:xfrm>
            <a:off x="5423841" y="5208763"/>
            <a:ext cx="539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b="1" dirty="0"/>
              <a:t>AFTER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ACC1280-4960-4B91-B6F7-C11B28A6B68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414" y="4223309"/>
            <a:ext cx="1983317" cy="1487488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9774AE3-AF7F-48E6-90A3-9EB928767C28}"/>
              </a:ext>
            </a:extLst>
          </p:cNvPr>
          <p:cNvCxnSpPr>
            <a:cxnSpLocks/>
            <a:endCxn id="24" idx="2"/>
          </p:cNvCxnSpPr>
          <p:nvPr/>
        </p:nvCxnSpPr>
        <p:spPr>
          <a:xfrm>
            <a:off x="6102682" y="4423954"/>
            <a:ext cx="1398256" cy="28141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9B3F6F13-3A1C-409A-8745-F9C5219B8C78}"/>
              </a:ext>
            </a:extLst>
          </p:cNvPr>
          <p:cNvSpPr/>
          <p:nvPr/>
        </p:nvSpPr>
        <p:spPr>
          <a:xfrm>
            <a:off x="7500938" y="4539324"/>
            <a:ext cx="904875" cy="3320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215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74</TotalTime>
  <Words>86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2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60</cp:revision>
  <dcterms:created xsi:type="dcterms:W3CDTF">2019-02-20T10:39:16Z</dcterms:created>
  <dcterms:modified xsi:type="dcterms:W3CDTF">2021-02-18T13:0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